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7" r:id="rId2"/>
    <p:sldId id="258" r:id="rId3"/>
    <p:sldId id="259" r:id="rId4"/>
    <p:sldId id="260" r:id="rId5"/>
    <p:sldId id="261" r:id="rId6"/>
    <p:sldId id="262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>
        <p:scale>
          <a:sx n="73" d="100"/>
          <a:sy n="73" d="100"/>
        </p:scale>
        <p:origin x="404" y="-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0C1F448F-86F9-4731-A83D-96FCA7389CBB}" type="datetimeFigureOut">
              <a:rPr lang="en-US" smtClean="0"/>
              <a:pPr/>
              <a:t>7/3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B12B4F69-D1A4-4078-9861-7D66613792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654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5583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B254E9-4931-0A43-7F4A-B503F41BBD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D15BA15-0793-128D-FD51-4EA32E32A0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20F8D9-5E0E-7414-B91C-AA2D7F64F4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1F889A-FE69-5E44-A6AE-C35038E8B4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5297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A3D402-4A86-D535-1AB1-D779BAD602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47D5F3-ECDF-F187-247C-E9E413B61A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BC7AAEA-94FF-C247-D6AB-1218B62D1F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F0DE72-5CBF-C73C-CAA5-58F9AEF9D5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8544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28F83B-AA8C-CAEA-1E82-376DCCC327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5276194-9DAD-6638-25C6-24570F1937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7F375F5-11EA-BD98-B766-57686E115E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EDED87-53B0-1FFF-0D38-B3D53B3774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8119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695ADA0-1B34-F092-92E1-161E4E16C5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239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50BBCA6-C6E5-4069-34F7-1690FDD11D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DB19A61-B2E2-A9BE-7D68-381E4E2670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6610D5-99BE-A1D9-50E7-537FBF9D7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387153-C0B2-B7BD-2616-FBD7549F7C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5C970-D0D2-9C09-2F26-8A7BD9F82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44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0365E6C-3202-4D5C-1F92-DB03773582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420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50DCE9A-46A2-F98E-5736-FB07F3540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05D4C1D-8EB7-0E7D-2652-61290CAEE5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77265C-FCA3-46BF-9CC2-7A3E20F484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A52405-206C-E426-95BF-A494BF743C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D419A-9332-EF01-CF51-4DA8023D2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3177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7F8E016-609A-7099-466A-F34E2ADF3C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4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F3BDC0B5-52A6-362B-911E-17671045104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917163-05E7-7DA9-8AEB-1F2A5B422C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B28B61-86F7-C962-0449-FEA9EE064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7FB81F-F188-EC94-CD1E-4D8F3A50ED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F2C7B9-AD53-A7FE-96E6-4D4521048A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818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F38ED86-F604-0008-F43B-3A74FF9F95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891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338AF6-69B5-DEF4-C001-B8DCE6683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7FC754-6632-EC40-75A3-A0F3D3DA2B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6F9DBF-23C5-C18B-6E72-854C83EF06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760A54-C8A7-CEAC-B2B6-8C043D4A42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12038D-9A64-FFB4-B830-AFA3BF9C3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332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8A56CB8-3934-5C83-8FF2-7CEE0D247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8993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D8436F-F20A-450E-C3B5-73F83A4F6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39FDAD-3944-0BEE-5B86-04F8892199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F5B4AA-A7AB-04C5-038C-6963567A12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6E7B3-0CE3-9A9A-8915-FF7BF6D46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63EC1D-E0FC-122B-6054-0D7EAC1D82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4152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5EECDF3-A87B-9E28-F736-6790846178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6599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C7914C-08BC-656D-A85B-325762EF3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5DD265-06F5-310C-6A7F-7631F10D121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56F8A2-2E2B-88B0-D6BC-32A91377D5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9C74B4-F996-8430-8A9C-619564D0A1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3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C6730B-7AAC-12CE-4CB6-220011DEC1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66787C-CD05-55F4-932C-C38C86100A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7658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AA47A5C-963F-D1DE-D2F7-E07DC6AE74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349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F7EAA4-934B-1B9C-21DB-B223237A4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2799E3-E1DB-DF8F-73CF-0BE0267C8F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5605E7-CBA8-9B98-C32A-EBA4D5FEF8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FF1CE9-8378-015E-5979-20308F32DD1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FD7C18E-E3A4-7811-6810-43F777E3C0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6B896C-23E1-F6CC-EA9D-62DD068B24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3/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8FE2-2F0A-324E-05B6-ACC23DE39C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19D2FE1-FA7A-EBC7-C7D9-3D009C14F2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017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4AAED76-E1CC-D6E9-FA9A-90A0D0F70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346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21AF6A-2E33-FA57-5889-A62DD65BC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2F11A4-7101-B7AF-55CF-31361FD41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3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BB2524-F169-4AA2-AA5D-FFE1A7FD32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5720AD-8359-E13B-91CB-1E8E380E7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8939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533CD53-3C40-AC87-C939-92F102CC49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8019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CDB22C-F793-0643-02D7-3DBB742AF1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3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FCA139-F131-793D-72C3-5FB50B63E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3088E0-F5D5-22B3-014F-3C1B17FCBE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005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8B4F67-2900-E1AA-369D-D1AFD066C6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3057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A9F7B3-FDC4-183F-515B-679D58939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29EE0-BBC4-0FC4-288E-E6C84C6798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02E361-4F91-A4D8-B518-E9A9832C5E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F42AEA-CB87-B64F-511A-B849F50AA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3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6BF69C-62E4-CC5C-82B6-8FEC1334B1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6EFFB-7DE4-E2E5-ECDB-AA2BFAB642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5255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7F8A899-FA1A-6B50-D77E-469C3E2DC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842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19E476-14C5-2B56-8C6E-9837EAB91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574B907-1C19-984F-E56F-917BFDCFA8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F7DD1-E7CC-651D-A4E1-A69A63F135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6FA8FE-0B03-15BD-8A96-0D29AD8DC2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3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2DF5B2-3E50-7DF2-52A1-08694B9596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4DCE12-F5ED-24E7-37BC-84586F5D2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244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4D98946-3384-60C8-122C-05A66DB4C8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94138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01EBB0-F2B7-422C-6A98-233C483C0D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EA378C-2B23-9C18-7851-2C2AA91354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18DC12-185E-B2B9-6675-EF7377721E9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E4FD71B-E960-4BE4-B463-A12BB7700A42}" type="datetimeFigureOut">
              <a:rPr lang="en-US" smtClean="0"/>
              <a:pPr/>
              <a:t>7/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CDF23C-669E-ABAC-5240-9DF0CBC7D4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E27B6A-BA05-8337-DAE6-2A92C972F0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11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5.png"/><Relationship Id="rId18" Type="http://schemas.openxmlformats.org/officeDocument/2006/relationships/image" Target="../media/image10.png"/><Relationship Id="rId3" Type="http://schemas.openxmlformats.org/officeDocument/2006/relationships/tags" Target="../tags/tag16.xml"/><Relationship Id="rId21" Type="http://schemas.openxmlformats.org/officeDocument/2006/relationships/image" Target="../media/image13.png"/><Relationship Id="rId7" Type="http://schemas.openxmlformats.org/officeDocument/2006/relationships/tags" Target="../tags/tag20.xml"/><Relationship Id="rId12" Type="http://schemas.openxmlformats.org/officeDocument/2006/relationships/image" Target="../media/image1.emf"/><Relationship Id="rId17" Type="http://schemas.openxmlformats.org/officeDocument/2006/relationships/image" Target="../media/image9.png"/><Relationship Id="rId2" Type="http://schemas.openxmlformats.org/officeDocument/2006/relationships/tags" Target="../tags/tag15.xml"/><Relationship Id="rId16" Type="http://schemas.openxmlformats.org/officeDocument/2006/relationships/image" Target="../media/image8.png"/><Relationship Id="rId20" Type="http://schemas.openxmlformats.org/officeDocument/2006/relationships/image" Target="../media/image12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18.xml"/><Relationship Id="rId15" Type="http://schemas.openxmlformats.org/officeDocument/2006/relationships/image" Target="../media/image7.png"/><Relationship Id="rId10" Type="http://schemas.openxmlformats.org/officeDocument/2006/relationships/notesSlide" Target="../notesSlides/notesSlide2.xml"/><Relationship Id="rId19" Type="http://schemas.openxmlformats.org/officeDocument/2006/relationships/image" Target="../media/image11.png"/><Relationship Id="rId4" Type="http://schemas.openxmlformats.org/officeDocument/2006/relationships/tags" Target="../tags/tag17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14.bin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16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5.png"/><Relationship Id="rId4" Type="http://schemas.openxmlformats.org/officeDocument/2006/relationships/tags" Target="../tags/tag25.xml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8421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2003" y="197596"/>
            <a:ext cx="9144000" cy="176745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Thermal Tensor Network Renormalization Group (XTRG)</a:t>
            </a:r>
            <a:endParaRPr lang="en-US" sz="4800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6" y="2411425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/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725892" y="1"/>
            <a:ext cx="2466108" cy="3072526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273899" y="6185421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5553" y="3263619"/>
            <a:ext cx="4808376" cy="2219521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7284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9" imgH="478" progId="TCLayout.ActiveDocument.1">
                  <p:embed/>
                </p:oleObj>
              </mc:Choice>
              <mc:Fallback>
                <p:oleObj name="think-cell Slide" r:id="rId11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15">
            <a:extLst>
              <a:ext uri="{FF2B5EF4-FFF2-40B4-BE49-F238E27FC236}">
                <a16:creationId xmlns:a16="http://schemas.microsoft.com/office/drawing/2014/main" id="{4D0BD1B2-E47F-8AC7-B035-2720DE527CDB}"/>
              </a:ext>
            </a:extLst>
          </p:cNvPr>
          <p:cNvSpPr txBox="1"/>
          <p:nvPr/>
        </p:nvSpPr>
        <p:spPr>
          <a:xfrm>
            <a:off x="188340" y="147722"/>
            <a:ext cx="43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noProof="0" dirty="0">
                <a:solidFill>
                  <a:schemeClr val="bg2">
                    <a:lumMod val="50000"/>
                  </a:schemeClr>
                </a:solidFill>
                <a:latin typeface="Bahnschrift SemiCondensed" panose="020B0502040204020203" pitchFamily="34" charset="0"/>
              </a:rPr>
              <a:t>01</a:t>
            </a:r>
          </a:p>
        </p:txBody>
      </p:sp>
      <p:sp>
        <p:nvSpPr>
          <p:cNvPr id="2" name="Untertitel 2 1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Linear High-Temperature Initialization </a:t>
            </a:r>
            <a:endParaRPr lang="en-US" sz="3200" noProof="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6F1F6CC-B32D-EAE7-68D2-E7C98793A4B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606974" y="2287539"/>
            <a:ext cx="5260118" cy="704566"/>
          </a:xfrm>
          <a:prstGeom prst="rect">
            <a:avLst/>
          </a:prstGeom>
        </p:spPr>
      </p:pic>
      <p:sp>
        <p:nvSpPr>
          <p:cNvPr id="23" name="Untertitel 2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412051" y="1519886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 3 1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8218392" y="2396209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4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412051" y="3750947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 5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397326" y="3750946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2862" y="3320837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111154" y="3209588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6066" y="1543700"/>
            <a:ext cx="6875428" cy="350476"/>
          </a:xfrm>
          <a:prstGeom prst="rect">
            <a:avLst/>
          </a:prstGeom>
        </p:spPr>
      </p:pic>
      <p:sp>
        <p:nvSpPr>
          <p:cNvPr id="3" name="Untertitel 2 6">
            <a:extLst>
              <a:ext uri="{FF2B5EF4-FFF2-40B4-BE49-F238E27FC236}">
                <a16:creationId xmlns:a16="http://schemas.microsoft.com/office/drawing/2014/main" id="{385898AF-B955-5739-FC5A-7DDDCDA57CCE}"/>
              </a:ext>
            </a:extLst>
          </p:cNvPr>
          <p:cNvSpPr txBox="1">
            <a:spLocks/>
          </p:cNvSpPr>
          <p:nvPr/>
        </p:nvSpPr>
        <p:spPr>
          <a:xfrm>
            <a:off x="1412049" y="4710515"/>
            <a:ext cx="9759159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linearly approximate the (unnormalized) thermal state at high temperature,                   ,  as</a:t>
            </a:r>
            <a:endParaRPr lang="en-US" sz="2000" noProof="0" dirty="0"/>
          </a:p>
        </p:txBody>
      </p:sp>
      <p:pic>
        <p:nvPicPr>
          <p:cNvPr id="11" name="Picture 10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F28F0B9A-D84B-0C4B-C4B5-8E87C411C5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9231" y="5230705"/>
            <a:ext cx="2858666" cy="324571"/>
          </a:xfrm>
          <a:prstGeom prst="rect">
            <a:avLst/>
          </a:prstGeom>
        </p:spPr>
      </p:pic>
      <p:pic>
        <p:nvPicPr>
          <p:cNvPr id="13" name="Picture 12" descr="\documentclass{article}&#10;\usepackage{amsmath}&#10;\pagestyle{empty}&#10;\begin{document}&#10;&#10;$\beta_0 = 10^{-6}$&#10;&#10;\end{document}" title="IguanaTex Picture Display">
            <a:extLst>
              <a:ext uri="{FF2B5EF4-FFF2-40B4-BE49-F238E27FC236}">
                <a16:creationId xmlns:a16="http://schemas.microsoft.com/office/drawing/2014/main" id="{842B7C67-87EA-AA62-4EEE-458D99106A8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0856" y="4750134"/>
            <a:ext cx="1091048" cy="257524"/>
          </a:xfrm>
          <a:prstGeom prst="rect">
            <a:avLst/>
          </a:prstGeom>
        </p:spPr>
      </p:pic>
      <p:sp>
        <p:nvSpPr>
          <p:cNvPr id="14" name="Untertitel 2 3 2">
            <a:extLst>
              <a:ext uri="{FF2B5EF4-FFF2-40B4-BE49-F238E27FC236}">
                <a16:creationId xmlns:a16="http://schemas.microsoft.com/office/drawing/2014/main" id="{452D222A-1577-1AFF-2E59-1E58B5AF8F3A}"/>
              </a:ext>
            </a:extLst>
          </p:cNvPr>
          <p:cNvSpPr txBox="1">
            <a:spLocks/>
          </p:cNvSpPr>
          <p:nvPr/>
        </p:nvSpPr>
        <p:spPr>
          <a:xfrm>
            <a:off x="1412049" y="5808199"/>
            <a:ext cx="7889254" cy="663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he fact that      and    can be represented by MPOs with bond dimension 4 and 1, respectively, we represent                  with an MPO with bond dim. 5</a:t>
            </a:r>
          </a:p>
        </p:txBody>
      </p:sp>
      <p:pic>
        <p:nvPicPr>
          <p:cNvPr id="15" name="Picture 14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AE17548D-126D-CC51-4A9D-BBAC4AFC0A8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5190" y="5832041"/>
            <a:ext cx="214857" cy="239238"/>
          </a:xfrm>
          <a:prstGeom prst="rect">
            <a:avLst/>
          </a:prstGeom>
        </p:spPr>
      </p:pic>
      <p:pic>
        <p:nvPicPr>
          <p:cNvPr id="17" name="Picture 16" descr="\documentclass{article}&#10;\usepackage{amsmath}&#10;\usepackage{bbold}&#10;\pagestyle{empty}&#10;\begin{document}&#10;&#10;$\hat{\mathbb{1}}$&#10;&#10;\end{document}" title="IguanaTex Picture Display">
            <a:extLst>
              <a:ext uri="{FF2B5EF4-FFF2-40B4-BE49-F238E27FC236}">
                <a16:creationId xmlns:a16="http://schemas.microsoft.com/office/drawing/2014/main" id="{73BE6A28-7B1F-673D-B344-A1A1E59AE1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346" y="5841184"/>
            <a:ext cx="112762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}&#10;\usepackage{bbold}&#10;\pagestyle{empty}&#10;\begin{document}&#10;&#10;$\hat{\mathbb{1}} - \beta_0 \hat{H}$&#10;&#10;\end{document}" title="IguanaTex Picture Display">
            <a:extLst>
              <a:ext uri="{FF2B5EF4-FFF2-40B4-BE49-F238E27FC236}">
                <a16:creationId xmlns:a16="http://schemas.microsoft.com/office/drawing/2014/main" id="{6713ED5A-79E5-D2D0-0D00-42D46399945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913" y="6109036"/>
            <a:ext cx="917334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9" imgH="478" progId="TCLayout.ActiveDocument.1">
                  <p:embed/>
                </p:oleObj>
              </mc:Choice>
              <mc:Fallback>
                <p:oleObj name="think-cell Slide" r:id="rId7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EFD78-FFA3-44C0-13B3-4B90F8BE1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15">
            <a:extLst>
              <a:ext uri="{FF2B5EF4-FFF2-40B4-BE49-F238E27FC236}">
                <a16:creationId xmlns:a16="http://schemas.microsoft.com/office/drawing/2014/main" id="{D4F4CA12-E33D-310F-20FF-D6F47D052E92}"/>
              </a:ext>
            </a:extLst>
          </p:cNvPr>
          <p:cNvSpPr txBox="1"/>
          <p:nvPr/>
        </p:nvSpPr>
        <p:spPr>
          <a:xfrm>
            <a:off x="188340" y="147722"/>
            <a:ext cx="43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noProof="0" dirty="0">
                <a:solidFill>
                  <a:schemeClr val="bg2">
                    <a:lumMod val="50000"/>
                  </a:schemeClr>
                </a:solidFill>
                <a:latin typeface="Bahnschrift SemiCondensed" panose="020B0502040204020203" pitchFamily="34" charset="0"/>
              </a:rPr>
              <a:t>02</a:t>
            </a:r>
          </a:p>
        </p:txBody>
      </p:sp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Halving temperature by squaring the state</a:t>
            </a:r>
            <a:endParaRPr lang="en-US" sz="3200" noProof="0" dirty="0"/>
          </a:p>
        </p:txBody>
      </p:sp>
      <p:sp>
        <p:nvSpPr>
          <p:cNvPr id="23" name="Untertitel 2 2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286541" y="1790621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ide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3">
            <a:extLst>
              <a:ext uri="{FF2B5EF4-FFF2-40B4-BE49-F238E27FC236}">
                <a16:creationId xmlns:a16="http://schemas.microsoft.com/office/drawing/2014/main" id="{39B745FA-D5B2-29C1-3968-C733E40E8459}"/>
              </a:ext>
            </a:extLst>
          </p:cNvPr>
          <p:cNvSpPr txBox="1">
            <a:spLocks/>
          </p:cNvSpPr>
          <p:nvPr/>
        </p:nvSpPr>
        <p:spPr>
          <a:xfrm>
            <a:off x="2554625" y="1811123"/>
            <a:ext cx="8350834" cy="7408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ppose we have computed the thermal state         . Then we can compute the thermal state with double inverse temperature as</a:t>
            </a:r>
          </a:p>
        </p:txBody>
      </p:sp>
      <p:pic>
        <p:nvPicPr>
          <p:cNvPr id="8" name="Picture 7" descr="\documentclass{article}&#10;\usepackage{amsmath}&#10;\pagestyle{empty}&#10;\begin{document}&#10;&#10;$\rho(\beta)$&#10;&#10;&#10;\end{document}" title="IguanaTex Picture Display">
            <a:extLst>
              <a:ext uri="{FF2B5EF4-FFF2-40B4-BE49-F238E27FC236}">
                <a16:creationId xmlns:a16="http://schemas.microsoft.com/office/drawing/2014/main" id="{9BF7421C-66E9-7097-28DC-4537B05B45A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8029" y="1854254"/>
            <a:ext cx="452571" cy="254476"/>
          </a:xfrm>
          <a:prstGeom prst="rect">
            <a:avLst/>
          </a:prstGeom>
        </p:spPr>
      </p:pic>
      <p:pic>
        <p:nvPicPr>
          <p:cNvPr id="11" name="Picture 10" descr="\documentclass{article}&#10;\usepackage{amsmath}&#10;\pagestyle{empty}&#10;\begin{document}&#10;&#10;$\rho(2 \beta) = \text{e}^{-2 \beta \hat{H}} = (\text{e}^{- \beta \hat{H}})^2 = \rho(\beta)^2$&#10;&#10;&#10;\end{document}" title="IguanaTex Picture Display">
            <a:extLst>
              <a:ext uri="{FF2B5EF4-FFF2-40B4-BE49-F238E27FC236}">
                <a16:creationId xmlns:a16="http://schemas.microsoft.com/office/drawing/2014/main" id="{DC667FC9-7209-7818-2D69-59B0FD6DABE5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8930" y="2602386"/>
            <a:ext cx="3774474" cy="324571"/>
          </a:xfrm>
          <a:prstGeom prst="rect">
            <a:avLst/>
          </a:prstGeom>
        </p:spPr>
      </p:pic>
      <p:sp>
        <p:nvSpPr>
          <p:cNvPr id="12" name="Untertitel 2 3">
            <a:extLst>
              <a:ext uri="{FF2B5EF4-FFF2-40B4-BE49-F238E27FC236}">
                <a16:creationId xmlns:a16="http://schemas.microsoft.com/office/drawing/2014/main" id="{F0145429-2611-E58B-002B-78C5763C06F6}"/>
              </a:ext>
            </a:extLst>
          </p:cNvPr>
          <p:cNvSpPr txBox="1">
            <a:spLocks/>
          </p:cNvSpPr>
          <p:nvPr/>
        </p:nvSpPr>
        <p:spPr>
          <a:xfrm>
            <a:off x="2548678" y="3209337"/>
            <a:ext cx="9358701" cy="26989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start from the high-temperature state       , and iteratively halve the temperature. We do the square using the MPO representation of the thermal states. Squaring MPOs implies squaring their bond dimension, too. This calls for a truncation </a:t>
            </a:r>
            <a:r>
              <a:rPr lang="en-US" sz="2000" noProof="0">
                <a:latin typeface="Bahnschrift SemiCondensed" panose="020B0502040204020203" pitchFamily="34" charset="0"/>
              </a:rPr>
              <a:t>schem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4" name="Picture 13" descr="\documentclass{article}&#10;\usepackage{amsmath}&#10;\pagestyle{empty}&#10;\begin{document}&#10;&#10;$\rho_{\beta_0}$&#10;&#10;\end{document}" title="IguanaTex Picture Display">
            <a:extLst>
              <a:ext uri="{FF2B5EF4-FFF2-40B4-BE49-F238E27FC236}">
                <a16:creationId xmlns:a16="http://schemas.microsoft.com/office/drawing/2014/main" id="{D364E4A0-09FA-3132-3278-4BA3FE24BC0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5429" y="3345518"/>
            <a:ext cx="315429" cy="184381"/>
          </a:xfrm>
          <a:prstGeom prst="rect">
            <a:avLst/>
          </a:prstGeom>
        </p:spPr>
      </p:pic>
      <p:sp>
        <p:nvSpPr>
          <p:cNvPr id="15" name="Untertitel 2 2">
            <a:extLst>
              <a:ext uri="{FF2B5EF4-FFF2-40B4-BE49-F238E27FC236}">
                <a16:creationId xmlns:a16="http://schemas.microsoft.com/office/drawing/2014/main" id="{513F6546-753F-4293-9D70-3FD95AAE0875}"/>
              </a:ext>
            </a:extLst>
          </p:cNvPr>
          <p:cNvSpPr txBox="1">
            <a:spLocks/>
          </p:cNvSpPr>
          <p:nvPr/>
        </p:nvSpPr>
        <p:spPr>
          <a:xfrm>
            <a:off x="621101" y="3185388"/>
            <a:ext cx="2409482" cy="7408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TRG algorith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15346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2A0C74-C439-C6A0-C6D7-11DDA3F7C4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81714C8-D8E3-1DA1-7947-4B37FF3CC5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15">
            <a:extLst>
              <a:ext uri="{FF2B5EF4-FFF2-40B4-BE49-F238E27FC236}">
                <a16:creationId xmlns:a16="http://schemas.microsoft.com/office/drawing/2014/main" id="{AA37D88A-3F36-AFFF-6FAA-4EBDCAF273DE}"/>
              </a:ext>
            </a:extLst>
          </p:cNvPr>
          <p:cNvSpPr txBox="1"/>
          <p:nvPr/>
        </p:nvSpPr>
        <p:spPr>
          <a:xfrm>
            <a:off x="188340" y="147722"/>
            <a:ext cx="43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noProof="0" dirty="0">
                <a:solidFill>
                  <a:schemeClr val="bg2">
                    <a:lumMod val="50000"/>
                  </a:schemeClr>
                </a:solidFill>
                <a:latin typeface="Bahnschrift SemiCondensed" panose="020B0502040204020203" pitchFamily="34" charset="0"/>
              </a:rPr>
              <a:t>02</a:t>
            </a:r>
          </a:p>
        </p:txBody>
      </p:sp>
      <p:sp>
        <p:nvSpPr>
          <p:cNvPr id="2" name="Untertitel 2">
            <a:extLst>
              <a:ext uri="{FF2B5EF4-FFF2-40B4-BE49-F238E27FC236}">
                <a16:creationId xmlns:a16="http://schemas.microsoft.com/office/drawing/2014/main" id="{7D5435D9-476E-EEBB-9425-7B02F3A49548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Title</a:t>
            </a:r>
            <a:endParaRPr lang="en-US" sz="3200" noProof="0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63FA4086-A9D0-546A-8230-72A6C1C25D6E}"/>
              </a:ext>
            </a:extLst>
          </p:cNvPr>
          <p:cNvSpPr txBox="1">
            <a:spLocks/>
          </p:cNvSpPr>
          <p:nvPr/>
        </p:nvSpPr>
        <p:spPr>
          <a:xfrm>
            <a:off x="1412051" y="1763726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B2EE0A1D-0287-0EB3-FB97-F62DB6EF1F86}"/>
              </a:ext>
            </a:extLst>
          </p:cNvPr>
          <p:cNvSpPr txBox="1">
            <a:spLocks/>
          </p:cNvSpPr>
          <p:nvPr/>
        </p:nvSpPr>
        <p:spPr>
          <a:xfrm>
            <a:off x="1593206" y="2328707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 err="1">
                <a:latin typeface="Bahnschrift SemiCondensed" panose="020B0502040204020203" pitchFamily="34" charset="0"/>
              </a:rPr>
              <a:t>Bla</a:t>
            </a:r>
            <a:r>
              <a:rPr lang="en-US" sz="2000" noProof="0" dirty="0">
                <a:latin typeface="Bahnschrift SemiCondensed" panose="020B0502040204020203" pitchFamily="34" charset="0"/>
              </a:rPr>
              <a:t> </a:t>
            </a:r>
            <a:r>
              <a:rPr lang="en-US" sz="2000" noProof="0" dirty="0" err="1">
                <a:latin typeface="Bahnschrift SemiCondensed" panose="020B0502040204020203" pitchFamily="34" charset="0"/>
              </a:rPr>
              <a:t>bla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60CA29A6-0D93-C485-9E4E-CC92B849DDD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2112" y="1790107"/>
            <a:ext cx="214857" cy="239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8405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013957-E7BB-3A86-8334-2B059AF3BF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67CC15E-C788-2007-7B30-0EEF8DF91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15">
            <a:extLst>
              <a:ext uri="{FF2B5EF4-FFF2-40B4-BE49-F238E27FC236}">
                <a16:creationId xmlns:a16="http://schemas.microsoft.com/office/drawing/2014/main" id="{6319B961-52A8-32A3-513C-4711B4A232AC}"/>
              </a:ext>
            </a:extLst>
          </p:cNvPr>
          <p:cNvSpPr txBox="1"/>
          <p:nvPr/>
        </p:nvSpPr>
        <p:spPr>
          <a:xfrm>
            <a:off x="188340" y="147722"/>
            <a:ext cx="43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noProof="0" dirty="0">
                <a:solidFill>
                  <a:schemeClr val="bg2">
                    <a:lumMod val="50000"/>
                  </a:schemeClr>
                </a:solidFill>
                <a:latin typeface="Bahnschrift SemiCondensed" panose="020B0502040204020203" pitchFamily="34" charset="0"/>
              </a:rPr>
              <a:t>02</a:t>
            </a:r>
          </a:p>
        </p:txBody>
      </p:sp>
      <p:sp>
        <p:nvSpPr>
          <p:cNvPr id="2" name="Untertitel 2">
            <a:extLst>
              <a:ext uri="{FF2B5EF4-FFF2-40B4-BE49-F238E27FC236}">
                <a16:creationId xmlns:a16="http://schemas.microsoft.com/office/drawing/2014/main" id="{B822D573-FA9F-BCD2-9F60-831922AA4DE2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Title</a:t>
            </a:r>
            <a:endParaRPr lang="en-US" sz="3200" noProof="0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8B0DCD76-A691-14DB-E28E-8CE6D69B00EB}"/>
              </a:ext>
            </a:extLst>
          </p:cNvPr>
          <p:cNvSpPr txBox="1">
            <a:spLocks/>
          </p:cNvSpPr>
          <p:nvPr/>
        </p:nvSpPr>
        <p:spPr>
          <a:xfrm>
            <a:off x="1412051" y="1763726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028883B-BF9A-F339-882C-681CC2578625}"/>
              </a:ext>
            </a:extLst>
          </p:cNvPr>
          <p:cNvSpPr txBox="1">
            <a:spLocks/>
          </p:cNvSpPr>
          <p:nvPr/>
        </p:nvSpPr>
        <p:spPr>
          <a:xfrm>
            <a:off x="1593206" y="2328707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 err="1">
                <a:latin typeface="Bahnschrift SemiCondensed" panose="020B0502040204020203" pitchFamily="34" charset="0"/>
              </a:rPr>
              <a:t>Bla</a:t>
            </a:r>
            <a:r>
              <a:rPr lang="en-US" sz="2000" noProof="0" dirty="0">
                <a:latin typeface="Bahnschrift SemiCondensed" panose="020B0502040204020203" pitchFamily="34" charset="0"/>
              </a:rPr>
              <a:t> </a:t>
            </a:r>
            <a:r>
              <a:rPr lang="en-US" sz="2000" noProof="0" dirty="0" err="1">
                <a:latin typeface="Bahnschrift SemiCondensed" panose="020B0502040204020203" pitchFamily="34" charset="0"/>
              </a:rPr>
              <a:t>bla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EE85CAE0-354E-634E-F28D-BDE2AE28364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2112" y="1790107"/>
            <a:ext cx="214857" cy="239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6096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E162AD-5855-A06D-708A-BB4484142B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375081-2BFA-2F6E-3A3E-76E6D980A5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15">
            <a:extLst>
              <a:ext uri="{FF2B5EF4-FFF2-40B4-BE49-F238E27FC236}">
                <a16:creationId xmlns:a16="http://schemas.microsoft.com/office/drawing/2014/main" id="{E17E9F26-3302-1CCE-C09C-BFF56B34D14D}"/>
              </a:ext>
            </a:extLst>
          </p:cNvPr>
          <p:cNvSpPr txBox="1"/>
          <p:nvPr/>
        </p:nvSpPr>
        <p:spPr>
          <a:xfrm>
            <a:off x="188340" y="147722"/>
            <a:ext cx="43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noProof="0" dirty="0">
                <a:solidFill>
                  <a:schemeClr val="bg2">
                    <a:lumMod val="50000"/>
                  </a:schemeClr>
                </a:solidFill>
                <a:latin typeface="Bahnschrift SemiCondensed" panose="020B0502040204020203" pitchFamily="34" charset="0"/>
              </a:rPr>
              <a:t>02</a:t>
            </a:r>
          </a:p>
        </p:txBody>
      </p:sp>
      <p:sp>
        <p:nvSpPr>
          <p:cNvPr id="2" name="Untertitel 2">
            <a:extLst>
              <a:ext uri="{FF2B5EF4-FFF2-40B4-BE49-F238E27FC236}">
                <a16:creationId xmlns:a16="http://schemas.microsoft.com/office/drawing/2014/main" id="{DD1C9E7A-5CA4-CF07-DFDE-3019FF6BD592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Title</a:t>
            </a:r>
            <a:endParaRPr lang="en-US" sz="3200" noProof="0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AD89A43E-4E8C-CD31-7255-D52E97D6DFB0}"/>
              </a:ext>
            </a:extLst>
          </p:cNvPr>
          <p:cNvSpPr txBox="1">
            <a:spLocks/>
          </p:cNvSpPr>
          <p:nvPr/>
        </p:nvSpPr>
        <p:spPr>
          <a:xfrm>
            <a:off x="1412051" y="1763726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C162BD4E-4EA5-890C-CB65-FA42CE383A13}"/>
              </a:ext>
            </a:extLst>
          </p:cNvPr>
          <p:cNvSpPr txBox="1">
            <a:spLocks/>
          </p:cNvSpPr>
          <p:nvPr/>
        </p:nvSpPr>
        <p:spPr>
          <a:xfrm>
            <a:off x="1593206" y="2328707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 err="1">
                <a:latin typeface="Bahnschrift SemiCondensed" panose="020B0502040204020203" pitchFamily="34" charset="0"/>
              </a:rPr>
              <a:t>Bla</a:t>
            </a:r>
            <a:r>
              <a:rPr lang="en-US" sz="2000" noProof="0" dirty="0">
                <a:latin typeface="Bahnschrift SemiCondensed" panose="020B0502040204020203" pitchFamily="34" charset="0"/>
              </a:rPr>
              <a:t> </a:t>
            </a:r>
            <a:r>
              <a:rPr lang="en-US" sz="2000" noProof="0" dirty="0" err="1">
                <a:latin typeface="Bahnschrift SemiCondensed" panose="020B0502040204020203" pitchFamily="34" charset="0"/>
              </a:rPr>
              <a:t>bla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D5B1B623-0D87-7CA7-4E2A-394E8A19ED5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2112" y="1790107"/>
            <a:ext cx="214857" cy="239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3371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3.2358"/>
  <p:tag name="ORIGINALWIDTH" val=" 55.49307"/>
  <p:tag name="OUTPUTTYPE" val="PNG"/>
  <p:tag name="IGUANATEXVERSION" val="162"/>
  <p:tag name="LATEXADDIN" val="\documentclass{article}&#10;\usepackage{amsmath}&#10;\usepackage{bbold}&#10;\pagestyle{empty}&#10;\begin{document}&#10;&#10;$\hat{\mathbb{1}}$&#10;&#10;\end{document}"/>
  <p:tag name="IGUANATEXSIZE" val="20"/>
  <p:tag name="IGUANATEXCURSOR" val="11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.7323"/>
  <p:tag name="ORIGINALWIDTH" val=" 451.4435"/>
  <p:tag name="OUTPUTTYPE" val="PNG"/>
  <p:tag name="IGUANATEXVERSION" val="162"/>
  <p:tag name="LATEXADDIN" val="\documentclass{article}&#10;\usepackage{amsmath}&#10;\usepackage{bbold}&#10;\pagestyle{empty}&#10;\begin{document}&#10;&#10;$\hat{\mathbb{1}} - \beta_0 \hat{H}$&#10;&#10;\end{document}"/>
  <p:tag name="IGUANATEXSIZE" val="20"/>
  <p:tag name="IGUANATEXCURSOR" val="13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.2343"/>
  <p:tag name="ORIGINALWIDTH" val=" 222.7221"/>
  <p:tag name="OUTPUTTYPE" val="PNG"/>
  <p:tag name="IGUANATEXVERSION" val="162"/>
  <p:tag name="LATEXADDIN" val="\documentclass{article}&#10;\usepackage{amsmath}&#10;\pagestyle{empty}&#10;\begin{document}&#10;&#10;$\rho(\beta)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857.518"/>
  <p:tag name="OUTPUTTYPE" val="PNG"/>
  <p:tag name="IGUANATEXVERSION" val="162"/>
  <p:tag name="LATEXADDIN" val="\documentclass{article}&#10;\usepackage{amsmath}&#10;\pagestyle{empty}&#10;\begin{document}&#10;&#10;$\rho(2 \beta) = \text{e}^{-2 \beta \hat{H}} = (\text{e}^{- \beta \hat{H}})^2 = \rho(\beta)^2$&#10;&#10;&#10;\end{document}"/>
  <p:tag name="IGUANATEXSIZE" val="20"/>
  <p:tag name="IGUANATEXCURSOR" val="12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155.2306"/>
  <p:tag name="OUTPUTTYPE" val="PNG"/>
  <p:tag name="IGUANATEXVERSION" val="162"/>
  <p:tag name="LATEXADDIN" val="\documentclass{article}&#10;\usepackage{amsmath}&#10;\pagestyle{empty}&#10;\begin{document}&#10;&#10;$\rho_{\beta_0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</TotalTime>
  <Words>177</Words>
  <Application>Microsoft Office PowerPoint</Application>
  <PresentationFormat>Widescreen</PresentationFormat>
  <Paragraphs>36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ptos</vt:lpstr>
      <vt:lpstr>Aptos Display</vt:lpstr>
      <vt:lpstr>Arial</vt:lpstr>
      <vt:lpstr>Bahnschrift SemiCondensed</vt:lpstr>
      <vt:lpstr>Office Theme</vt:lpstr>
      <vt:lpstr>think-cell Slide</vt:lpstr>
      <vt:lpstr>The Thermal Tensor Network Renormalization Group (XTRG)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hias Pawlik</dc:creator>
  <cp:lastModifiedBy>Aliverti-Piuri, Damiano</cp:lastModifiedBy>
  <cp:revision>10</cp:revision>
  <dcterms:created xsi:type="dcterms:W3CDTF">2025-06-15T15:29:23Z</dcterms:created>
  <dcterms:modified xsi:type="dcterms:W3CDTF">2025-07-03T13:41:06Z</dcterms:modified>
</cp:coreProperties>
</file>